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1D1D1"/>
    <a:srgbClr val="A7A7A7"/>
    <a:srgbClr val="626262"/>
    <a:srgbClr val="444444"/>
    <a:srgbClr val="F6F6F6"/>
    <a:srgbClr val="BDBDBD"/>
    <a:srgbClr val="727272"/>
    <a:srgbClr val="E5E5E5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3ED5CA3D-C590-4BA3-8040-E007B98DE9A4}"/>
    <pc:docChg chg="modSld">
      <pc:chgData name="Weigel Stefan (PAR-EPS)" userId="fd3b2067-2981-4ad8-bf3a-d2e1004e4fa8" providerId="ADAL" clId="{3ED5CA3D-C590-4BA3-8040-E007B98DE9A4}" dt="2024-02-28T13:07:43.600" v="12" actId="27918"/>
      <pc:docMkLst>
        <pc:docMk/>
      </pc:docMkLst>
      <pc:sldChg chg="modSp mod">
        <pc:chgData name="Weigel Stefan (PAR-EPS)" userId="fd3b2067-2981-4ad8-bf3a-d2e1004e4fa8" providerId="ADAL" clId="{3ED5CA3D-C590-4BA3-8040-E007B98DE9A4}" dt="2024-02-28T13:07:43.600" v="12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3ED5CA3D-C590-4BA3-8040-E007B98DE9A4}" dt="2024-02-28T13:06:34.110" v="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05:50.832" v="78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05:50.832" v="78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240D3DC6-B81F-4689-A593-6E2DB529D193}"/>
    <pc:docChg chg="modSld">
      <pc:chgData name="Weigel Stefan (PAR-EPS)" userId="fd3b2067-2981-4ad8-bf3a-d2e1004e4fa8" providerId="ADAL" clId="{240D3DC6-B81F-4689-A593-6E2DB529D193}" dt="2024-04-23T12:37:13.356" v="28" actId="207"/>
      <pc:docMkLst>
        <pc:docMk/>
      </pc:docMkLst>
      <pc:sldChg chg="addSp modSp mod">
        <pc:chgData name="Weigel Stefan (PAR-EPS)" userId="fd3b2067-2981-4ad8-bf3a-d2e1004e4fa8" providerId="ADAL" clId="{240D3DC6-B81F-4689-A593-6E2DB529D193}" dt="2024-04-23T12:37:13.356" v="28" actId="207"/>
        <pc:sldMkLst>
          <pc:docMk/>
          <pc:sldMk cId="1183644670" sldId="410"/>
        </pc:sldMkLst>
        <pc:spChg chg="add mod">
          <ac:chgData name="Weigel Stefan (PAR-EPS)" userId="fd3b2067-2981-4ad8-bf3a-d2e1004e4fa8" providerId="ADAL" clId="{240D3DC6-B81F-4689-A593-6E2DB529D193}" dt="2024-04-23T12:37:04.313" v="27"/>
          <ac:spMkLst>
            <pc:docMk/>
            <pc:sldMk cId="1183644670" sldId="410"/>
            <ac:spMk id="3" creationId="{12A50853-D660-7C20-2391-A5F8F7EB22F6}"/>
          </ac:spMkLst>
        </pc:spChg>
        <pc:spChg chg="mod">
          <ac:chgData name="Weigel Stefan (PAR-EPS)" userId="fd3b2067-2981-4ad8-bf3a-d2e1004e4fa8" providerId="ADAL" clId="{240D3DC6-B81F-4689-A593-6E2DB529D193}" dt="2024-04-23T12:24:38.278" v="21" actId="1038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240D3DC6-B81F-4689-A593-6E2DB529D193}" dt="2024-04-23T12:37:13.356" v="28" actId="207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erailments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0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s involving train runs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8</c:v>
                </c:pt>
                <c:pt idx="1">
                  <c:v>1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5</c:v>
                </c:pt>
                <c:pt idx="7">
                  <c:v>10</c:v>
                </c:pt>
                <c:pt idx="8">
                  <c:v>11</c:v>
                </c:pt>
                <c:pt idx="9">
                  <c:v>10</c:v>
                </c:pt>
                <c:pt idx="1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ccidents at level crossings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7</c:v>
                </c:pt>
                <c:pt idx="1">
                  <c:v>11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5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  <c:pt idx="9">
                  <c:v>13</c:v>
                </c:pt>
                <c:pt idx="1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Accidents involving passengers or third parties gaining access to train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Collisions involving train runs per million train-path kilometr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0.11</c:v>
                </c:pt>
                <c:pt idx="1">
                  <c:v>6.0000000000000001E-3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4</c:v>
                </c:pt>
                <c:pt idx="6">
                  <c:v>0.03</c:v>
                </c:pt>
                <c:pt idx="7">
                  <c:v>0.06</c:v>
                </c:pt>
                <c:pt idx="8">
                  <c:v>0.06</c:v>
                </c:pt>
                <c:pt idx="9">
                  <c:v>0.05</c:v>
                </c:pt>
                <c:pt idx="10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3000000000000000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50264294486316508"/>
          <c:h val="0.21821054966693879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753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7925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/>
            <a:t>number</a:t>
          </a:r>
          <a:r>
            <a:rPr lang="de-CH" sz="1100" dirty="0"/>
            <a:t>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4823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661525" y="392032"/>
          <a:ext cx="155548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 err="1"/>
            <a:t>number</a:t>
          </a:r>
          <a:r>
            <a:rPr lang="de-CH" sz="1100" dirty="0"/>
            <a:t>/train-</a:t>
          </a:r>
          <a:r>
            <a:rPr lang="de-CH" sz="1100" dirty="0" err="1"/>
            <a:t>path</a:t>
          </a:r>
          <a:r>
            <a:rPr lang="de-CH" sz="1100" dirty="0"/>
            <a:t> km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5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ail </a:t>
            </a:r>
            <a:r>
              <a:rPr lang="de-CH" dirty="0" err="1"/>
              <a:t>operation</a:t>
            </a:r>
            <a:r>
              <a:rPr lang="de-CH" dirty="0"/>
              <a:t> </a:t>
            </a:r>
            <a:r>
              <a:rPr lang="de-CH" dirty="0" err="1"/>
              <a:t>accidents</a:t>
            </a:r>
            <a:r>
              <a:rPr lang="de-CH" dirty="0"/>
              <a:t>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40228609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95600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2A50853-D660-7C20-2391-A5F8F7EB22F6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 err="1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ccidents</a:t>
            </a: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on SBB </a:t>
            </a:r>
            <a:r>
              <a:rPr kumimoji="0" lang="de-CH" sz="1400" b="0" i="0" u="none" strike="noStrike" kern="1200" cap="none" spc="30" normalizeH="0" baseline="0" noProof="0" dirty="0" err="1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infrastructure</a:t>
            </a: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153BE9F-146D-4148-967A-8AC7616F1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ail operation accident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 operation accidents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5-03T12:1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